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4"/>
  </p:notesMasterIdLst>
  <p:sldIdLst>
    <p:sldId id="270" r:id="rId4"/>
    <p:sldId id="289" r:id="rId5"/>
    <p:sldId id="299" r:id="rId6"/>
    <p:sldId id="303" r:id="rId7"/>
    <p:sldId id="290" r:id="rId8"/>
    <p:sldId id="300" r:id="rId9"/>
    <p:sldId id="292" r:id="rId10"/>
    <p:sldId id="293" r:id="rId11"/>
    <p:sldId id="297" r:id="rId12"/>
    <p:sldId id="302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255004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518820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6418795"/>
              </p:ext>
            </p:extLst>
          </p:nvPr>
        </p:nvGraphicFramePr>
        <p:xfrm>
          <a:off x="587141" y="1234463"/>
          <a:ext cx="11032602" cy="5426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494381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9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03687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0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255883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</TotalTime>
  <Words>475</Words>
  <Application>Microsoft Office PowerPoint</Application>
  <PresentationFormat>宽屏</PresentationFormat>
  <Paragraphs>133</Paragraphs>
  <Slides>10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7</cp:revision>
  <dcterms:created xsi:type="dcterms:W3CDTF">2022-02-15T07:41:51Z</dcterms:created>
  <dcterms:modified xsi:type="dcterms:W3CDTF">2022-04-26T14:33:03Z</dcterms:modified>
</cp:coreProperties>
</file>